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9"/>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1006" r:id="rId30"/>
    <p:sldId id="609" r:id="rId31"/>
    <p:sldId id="966" r:id="rId32"/>
    <p:sldId id="967" r:id="rId33"/>
    <p:sldId id="971" r:id="rId34"/>
    <p:sldId id="972" r:id="rId35"/>
    <p:sldId id="973" r:id="rId36"/>
    <p:sldId id="974" r:id="rId37"/>
    <p:sldId id="975" r:id="rId38"/>
    <p:sldId id="980" r:id="rId39"/>
    <p:sldId id="968" r:id="rId40"/>
    <p:sldId id="976" r:id="rId41"/>
    <p:sldId id="977" r:id="rId42"/>
    <p:sldId id="1007" r:id="rId43"/>
    <p:sldId id="1003" r:id="rId44"/>
    <p:sldId id="611" r:id="rId45"/>
    <p:sldId id="948" r:id="rId46"/>
    <p:sldId id="612" r:id="rId47"/>
    <p:sldId id="613" r:id="rId48"/>
    <p:sldId id="614" r:id="rId49"/>
    <p:sldId id="616" r:id="rId50"/>
    <p:sldId id="949" r:id="rId51"/>
    <p:sldId id="950" r:id="rId52"/>
    <p:sldId id="951" r:id="rId53"/>
    <p:sldId id="952" r:id="rId54"/>
    <p:sldId id="955" r:id="rId55"/>
    <p:sldId id="953" r:id="rId56"/>
    <p:sldId id="954" r:id="rId57"/>
    <p:sldId id="1008" r:id="rId58"/>
    <p:sldId id="656" r:id="rId59"/>
    <p:sldId id="643" r:id="rId60"/>
    <p:sldId id="1009" r:id="rId61"/>
    <p:sldId id="665" r:id="rId62"/>
    <p:sldId id="672" r:id="rId63"/>
    <p:sldId id="1010" r:id="rId64"/>
    <p:sldId id="1011" r:id="rId65"/>
    <p:sldId id="680" r:id="rId66"/>
    <p:sldId id="610" r:id="rId67"/>
    <p:sldId id="674" r:id="rId68"/>
    <p:sldId id="681" r:id="rId69"/>
    <p:sldId id="692" r:id="rId70"/>
    <p:sldId id="693" r:id="rId71"/>
    <p:sldId id="676" r:id="rId72"/>
    <p:sldId id="694" r:id="rId73"/>
    <p:sldId id="685" r:id="rId74"/>
    <p:sldId id="697" r:id="rId75"/>
    <p:sldId id="698" r:id="rId76"/>
    <p:sldId id="689" r:id="rId77"/>
    <p:sldId id="699" r:id="rId78"/>
    <p:sldId id="700" r:id="rId79"/>
    <p:sldId id="690" r:id="rId80"/>
    <p:sldId id="682" r:id="rId81"/>
    <p:sldId id="677" r:id="rId82"/>
    <p:sldId id="710" r:id="rId83"/>
    <p:sldId id="713" r:id="rId84"/>
    <p:sldId id="712" r:id="rId85"/>
    <p:sldId id="714" r:id="rId86"/>
    <p:sldId id="723" r:id="rId87"/>
    <p:sldId id="725" r:id="rId88"/>
    <p:sldId id="726" r:id="rId89"/>
    <p:sldId id="728" r:id="rId90"/>
    <p:sldId id="730" r:id="rId91"/>
    <p:sldId id="731" r:id="rId92"/>
    <p:sldId id="732" r:id="rId93"/>
    <p:sldId id="733" r:id="rId94"/>
    <p:sldId id="734" r:id="rId95"/>
    <p:sldId id="735" r:id="rId96"/>
    <p:sldId id="736" r:id="rId97"/>
    <p:sldId id="737" r:id="rId98"/>
    <p:sldId id="707" r:id="rId99"/>
    <p:sldId id="738" r:id="rId100"/>
    <p:sldId id="739" r:id="rId101"/>
    <p:sldId id="740" r:id="rId102"/>
    <p:sldId id="741" r:id="rId103"/>
    <p:sldId id="743" r:id="rId104"/>
    <p:sldId id="742" r:id="rId105"/>
    <p:sldId id="744" r:id="rId106"/>
    <p:sldId id="745" r:id="rId107"/>
    <p:sldId id="746" r:id="rId108"/>
    <p:sldId id="747" r:id="rId109"/>
    <p:sldId id="748" r:id="rId110"/>
    <p:sldId id="749" r:id="rId111"/>
    <p:sldId id="750" r:id="rId112"/>
    <p:sldId id="751" r:id="rId113"/>
    <p:sldId id="752" r:id="rId114"/>
    <p:sldId id="755" r:id="rId115"/>
    <p:sldId id="756" r:id="rId116"/>
    <p:sldId id="757" r:id="rId117"/>
    <p:sldId id="758" r:id="rId118"/>
    <p:sldId id="759" r:id="rId119"/>
    <p:sldId id="760" r:id="rId120"/>
    <p:sldId id="761" r:id="rId121"/>
    <p:sldId id="762" r:id="rId122"/>
    <p:sldId id="764" r:id="rId123"/>
    <p:sldId id="817" r:id="rId124"/>
    <p:sldId id="765" r:id="rId125"/>
    <p:sldId id="766" r:id="rId126"/>
    <p:sldId id="767" r:id="rId127"/>
    <p:sldId id="769" r:id="rId128"/>
    <p:sldId id="784" r:id="rId129"/>
    <p:sldId id="785" r:id="rId130"/>
    <p:sldId id="786" r:id="rId131"/>
    <p:sldId id="770" r:id="rId132"/>
    <p:sldId id="768" r:id="rId133"/>
    <p:sldId id="798" r:id="rId134"/>
    <p:sldId id="803" r:id="rId135"/>
    <p:sldId id="804" r:id="rId136"/>
    <p:sldId id="805" r:id="rId137"/>
    <p:sldId id="806" r:id="rId138"/>
    <p:sldId id="807" r:id="rId139"/>
    <p:sldId id="763" r:id="rId140"/>
    <p:sldId id="810" r:id="rId141"/>
    <p:sldId id="827" r:id="rId142"/>
    <p:sldId id="831" r:id="rId143"/>
    <p:sldId id="832" r:id="rId144"/>
    <p:sldId id="833" r:id="rId145"/>
    <p:sldId id="830" r:id="rId146"/>
    <p:sldId id="837" r:id="rId147"/>
    <p:sldId id="850" r:id="rId148"/>
    <p:sldId id="877" r:id="rId149"/>
    <p:sldId id="878" r:id="rId150"/>
    <p:sldId id="879" r:id="rId151"/>
    <p:sldId id="881" r:id="rId152"/>
    <p:sldId id="885" r:id="rId153"/>
    <p:sldId id="882" r:id="rId154"/>
    <p:sldId id="883" r:id="rId155"/>
    <p:sldId id="884" r:id="rId156"/>
    <p:sldId id="849" r:id="rId157"/>
    <p:sldId id="880" r:id="rId158"/>
    <p:sldId id="873" r:id="rId159"/>
    <p:sldId id="886" r:id="rId160"/>
    <p:sldId id="891" r:id="rId161"/>
    <p:sldId id="887" r:id="rId162"/>
    <p:sldId id="888" r:id="rId163"/>
    <p:sldId id="889" r:id="rId164"/>
    <p:sldId id="890" r:id="rId165"/>
    <p:sldId id="892" r:id="rId166"/>
    <p:sldId id="933" r:id="rId167"/>
    <p:sldId id="935" r:id="rId168"/>
    <p:sldId id="932" r:id="rId169"/>
    <p:sldId id="934" r:id="rId170"/>
    <p:sldId id="931" r:id="rId171"/>
    <p:sldId id="936" r:id="rId172"/>
    <p:sldId id="823" r:id="rId173"/>
    <p:sldId id="821" r:id="rId174"/>
    <p:sldId id="825" r:id="rId175"/>
    <p:sldId id="824" r:id="rId176"/>
    <p:sldId id="822" r:id="rId177"/>
    <p:sldId id="296" r:id="rId1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1006"/>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954"/>
          </p14:sldIdLst>
        </p14:section>
        <p14:section name="DEMO 3" id="{3CFF1FDD-1FE4-4B4E-BDE0-EF0CF34E584E}">
          <p14:sldIdLst>
            <p14:sldId id="1008"/>
            <p14:sldId id="656"/>
            <p14:sldId id="643"/>
          </p14:sldIdLst>
        </p14:section>
        <p14:section name="DEMO 4" id="{5B15D6A0-FEAD-49FE-B7FF-0F9158923D9F}">
          <p14:sldIdLst>
            <p14:sldId id="1009"/>
            <p14:sldId id="665"/>
            <p14:sldId id="672"/>
          </p14:sldIdLst>
        </p14:section>
        <p14:section name="DEMO 5" id="{374993CF-7838-4273-8F76-EAA2A8A3643A}">
          <p14:sldIdLst>
            <p14:sldId id="1010"/>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5D6"/>
    <a:srgbClr val="742774"/>
    <a:srgbClr val="262626"/>
    <a:srgbClr val="8E98A7"/>
    <a:srgbClr val="768092"/>
    <a:srgbClr val="404040"/>
    <a:srgbClr val="F2C812"/>
    <a:srgbClr val="FAFAF8"/>
    <a:srgbClr val="5B2D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887" autoAdjust="0"/>
    <p:restoredTop sz="87540" autoAdjust="0"/>
  </p:normalViewPr>
  <p:slideViewPr>
    <p:cSldViewPr snapToGrid="0">
      <p:cViewPr varScale="1">
        <p:scale>
          <a:sx n="108" d="100"/>
          <a:sy n="108" d="100"/>
        </p:scale>
        <p:origin x="378"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theme" Target="theme/theme1.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notesMaster" Target="notesMasters/notes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presProps" Target="presProps.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72.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019 10: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019 10: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8741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2019 10: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1/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1/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4.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8.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9.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87.png"/><Relationship Id="rId7" Type="http://schemas.openxmlformats.org/officeDocument/2006/relationships/image" Target="../media/image24.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gif"/><Relationship Id="rId5" Type="http://schemas.openxmlformats.org/officeDocument/2006/relationships/hyperlink" Target="https://go.microsoft.com/fwlink/?LinkId=2083007&amp;clcid=0x409" TargetMode="External"/><Relationship Id="rId4" Type="http://schemas.openxmlformats.org/officeDocument/2006/relationships/image" Target="../media/image28.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1.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2.png"/></Relationships>
</file>

<file path=ppt/slides/_rels/slide1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3.png"/><Relationship Id="rId7" Type="http://schemas.openxmlformats.org/officeDocument/2006/relationships/image" Target="../media/image5.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4.png"/></Relationships>
</file>

<file path=ppt/slides/_rels/slide134.xml.rels><?xml version="1.0" encoding="UTF-8" standalone="yes"?>
<Relationships xmlns="http://schemas.openxmlformats.org/package/2006/relationships"><Relationship Id="rId3" Type="http://schemas.openxmlformats.org/officeDocument/2006/relationships/image" Target="../media/image165.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6.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6.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87.png"/><Relationship Id="rId7" Type="http://schemas.openxmlformats.org/officeDocument/2006/relationships/image" Target="../media/image24.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24.png"/><Relationship Id="rId7" Type="http://schemas.openxmlformats.org/officeDocument/2006/relationships/image" Target="../media/image168.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6.png"/><Relationship Id="rId2" Type="http://schemas.openxmlformats.org/officeDocument/2006/relationships/notesSlide" Target="../notesSlides/notesSlide135.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3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jpeg"/><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71.png"/><Relationship Id="rId5" Type="http://schemas.openxmlformats.org/officeDocument/2006/relationships/image" Target="../media/image6.png"/><Relationship Id="rId4" Type="http://schemas.openxmlformats.org/officeDocument/2006/relationships/image" Target="../media/image5.png"/></Relationships>
</file>

<file path=ppt/slides/_rels/slide14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78.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5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85.png"/><Relationship Id="rId4" Type="http://schemas.openxmlformats.org/officeDocument/2006/relationships/image" Target="../media/image88.png"/><Relationship Id="rId9" Type="http://schemas.openxmlformats.org/officeDocument/2006/relationships/image" Target="../media/image91.png"/></Relationships>
</file>

<file path=ppt/slides/_rels/slide15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87.png"/><Relationship Id="rId10" Type="http://schemas.openxmlformats.org/officeDocument/2006/relationships/image" Target="../media/image91.png"/><Relationship Id="rId4" Type="http://schemas.openxmlformats.org/officeDocument/2006/relationships/image" Target="../media/image88.png"/><Relationship Id="rId9" Type="http://schemas.openxmlformats.org/officeDocument/2006/relationships/image" Target="../media/image184.png"/></Relationships>
</file>

<file path=ppt/slides/_rels/slide15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89.png"/><Relationship Id="rId7" Type="http://schemas.openxmlformats.org/officeDocument/2006/relationships/image" Target="../media/image6.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2.png"/></Relationships>
</file>

<file path=ppt/slides/_rels/slide15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gif"/><Relationship Id="rId15" Type="http://schemas.openxmlformats.org/officeDocument/2006/relationships/image" Target="../media/image5.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8.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87.png"/><Relationship Id="rId7" Type="http://schemas.openxmlformats.org/officeDocument/2006/relationships/image" Target="../media/image24.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6.png"/><Relationship Id="rId2" Type="http://schemas.openxmlformats.org/officeDocument/2006/relationships/notesSlide" Target="../notesSlides/notesSlide166.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1.png"/><Relationship Id="rId7" Type="http://schemas.openxmlformats.org/officeDocument/2006/relationships/image" Target="../media/image5.png"/><Relationship Id="rId2" Type="http://schemas.openxmlformats.org/officeDocument/2006/relationships/notesSlide" Target="../notesSlides/notesSlide167.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171.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87.png"/><Relationship Id="rId7" Type="http://schemas.openxmlformats.org/officeDocument/2006/relationships/image" Target="../media/image24.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2.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202.png"/><Relationship Id="rId7" Type="http://schemas.openxmlformats.org/officeDocument/2006/relationships/image" Target="../media/image6.png"/><Relationship Id="rId2" Type="http://schemas.openxmlformats.org/officeDocument/2006/relationships/notesSlide" Target="../notesSlides/notesSlide169.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173.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hyperlink" Target="https://github.com/hfleitas" TargetMode="External"/><Relationship Id="rId3" Type="http://schemas.openxmlformats.org/officeDocument/2006/relationships/image" Target="../media/image201.png"/><Relationship Id="rId7" Type="http://schemas.openxmlformats.org/officeDocument/2006/relationships/hyperlink" Target="http://fleitasarts.com/" TargetMode="External"/><Relationship Id="rId12" Type="http://schemas.openxmlformats.org/officeDocument/2006/relationships/image" Target="../media/image205.png"/><Relationship Id="rId17" Type="http://schemas.openxmlformats.org/officeDocument/2006/relationships/image" Target="../media/image6.png"/><Relationship Id="rId2" Type="http://schemas.openxmlformats.org/officeDocument/2006/relationships/notesSlide" Target="../notesSlides/notesSlide170.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03.png"/></Relationships>
</file>

<file path=ppt/slides/_rels/slide17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7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68.png"/><Relationship Id="rId7"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0.svg"/><Relationship Id="rId4"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74.png"/><Relationship Id="rId7" Type="http://schemas.openxmlformats.org/officeDocument/2006/relationships/image" Target="../media/image69.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6.png"/><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6.png"/><Relationship Id="rId2" Type="http://schemas.openxmlformats.org/officeDocument/2006/relationships/notesSlide" Target="../notesSlides/notesSlide5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7.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54.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4.sv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6.png"/><Relationship Id="rId4" Type="http://schemas.openxmlformats.org/officeDocument/2006/relationships/image" Target="../media/image5.png"/></Relationships>
</file>

<file path=ppt/slides/_rels/slide59.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6.sv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6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7.png"/><Relationship Id="rId7" Type="http://schemas.openxmlformats.org/officeDocument/2006/relationships/image" Target="../media/image24.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0.png"/><Relationship Id="rId4" Type="http://schemas.openxmlformats.org/officeDocument/2006/relationships/hyperlink" Target="http://fleitasarts.com/" TargetMode="External"/><Relationship Id="rId9" Type="http://schemas.openxmlformats.org/officeDocument/2006/relationships/image" Target="../media/image89.png"/></Relationships>
</file>

<file path=ppt/slides/_rels/slide6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24.png"/><Relationship Id="rId7" Type="http://schemas.openxmlformats.org/officeDocument/2006/relationships/image" Target="../media/image88.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1.png"/></Relationships>
</file>

<file path=ppt/slides/_rels/slide6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 Id="rId9" Type="http://schemas.openxmlformats.org/officeDocument/2006/relationships/image" Target="../media/image91.png"/></Relationships>
</file>

<file path=ppt/slides/_rels/slide6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1.png"/><Relationship Id="rId5" Type="http://schemas.openxmlformats.org/officeDocument/2006/relationships/hyperlink" Target="http://fleitasarts.com/" TargetMode="External"/><Relationship Id="rId10" Type="http://schemas.openxmlformats.org/officeDocument/2006/relationships/image" Target="../media/image88.png"/><Relationship Id="rId4" Type="http://schemas.openxmlformats.org/officeDocument/2006/relationships/image" Target="../media/image24.png"/><Relationship Id="rId9" Type="http://schemas.openxmlformats.org/officeDocument/2006/relationships/image" Target="../media/image95.png"/></Relationships>
</file>

<file path=ppt/slides/_rels/slide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7.png"/><Relationship Id="rId4" Type="http://schemas.openxmlformats.org/officeDocument/2006/relationships/image" Target="../media/image96.png"/></Relationships>
</file>

<file path=ppt/slides/_rels/slide6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0.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1.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2.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3.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4.png"/></Relationships>
</file>

<file path=ppt/slides/_rels/slide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6.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1.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2.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8.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1" r="3506" b="2965"/>
          <a:stretch/>
        </p:blipFill>
        <p:spPr>
          <a:xfrm>
            <a:off x="-1" y="2788"/>
            <a:ext cx="12192001" cy="685521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39988"/>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415680"/>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34679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0401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994238" y="4464996"/>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4241" y="446499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0422" y="5236112"/>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464996"/>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1443" y="6005911"/>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464996"/>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91443" y="5231398"/>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991443" y="6000594"/>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0422" y="5236112"/>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991443" y="5234193"/>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2585323"/>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Staff Officer</a:t>
            </a:r>
          </a:p>
          <a:p>
            <a:pPr lvl="0" algn="r">
              <a:defRPr/>
            </a:pPr>
            <a:r>
              <a:rPr lang="en-US" dirty="0">
                <a:latin typeface="Segoe UI Light" panose="020B0502040204020203" pitchFamily="34" charset="0"/>
                <a:cs typeface="Segoe UI Light" panose="020B0502040204020203" pitchFamily="34" charset="0"/>
              </a:rPr>
              <a:t>Microsoft Certified Professional</a:t>
            </a:r>
          </a:p>
          <a:p>
            <a:pPr algn="r">
              <a:defRPr/>
            </a:pPr>
            <a:r>
              <a:rPr lang="en-US" dirty="0">
                <a:latin typeface="Segoe UI Light" panose="020B0502040204020203" pitchFamily="34" charset="0"/>
                <a:cs typeface="Segoe UI Light" panose="020B0502040204020203" pitchFamily="34" charset="0"/>
              </a:rPr>
              <a:t>Power BI Certified</a:t>
            </a:r>
          </a:p>
          <a:p>
            <a:pPr algn="r">
              <a:defRPr/>
            </a:pPr>
            <a:r>
              <a:rPr lang="en-US" dirty="0">
                <a:solidFill>
                  <a:srgbClr val="0075D6"/>
                </a:solidFill>
                <a:latin typeface="Segoe UI Light" panose="020B0502040204020203" pitchFamily="34" charset="0"/>
                <a:cs typeface="Segoe UI Light" panose="020B0502040204020203" pitchFamily="34" charset="0"/>
              </a:rPr>
              <a:t>Azure AI Engineer</a:t>
            </a:r>
          </a:p>
        </p:txBody>
      </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velop T-SQL on Azure Data Studio Notebook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742774"/>
                </a:solidFill>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742774"/>
                </a:solidFill>
                <a:latin typeface="Segoe UI Light" panose="020B0502040204020203" pitchFamily="34" charset="0"/>
                <a:cs typeface="Segoe UI Light" panose="020B0502040204020203" pitchFamily="34" charset="0"/>
              </a:rPr>
              <a:t>Input Text, Buttons, Output Labels, Camera, Map</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0075D6"/>
                </a:solidFill>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75D6"/>
                </a:solidFill>
                <a:latin typeface="Segoe UI Light" panose="020B0502040204020203" pitchFamily="34" charset="0"/>
                <a:cs typeface="Segoe UI Light" panose="020B0502040204020203" pitchFamily="34" charset="0"/>
              </a:rPr>
              <a:t>Exec SQL Server Stored Procedure, Variables, Response, Tes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On-premise 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B0F0"/>
                </a:solidFill>
                <a:latin typeface="Segoe UI Light" panose="020B0502040204020203" pitchFamily="34" charset="0"/>
                <a:cs typeface="Segoe UI Light" panose="020B0502040204020203" pitchFamily="34" charset="0"/>
              </a:rPr>
              <a:t>Cortana</a:t>
            </a:r>
            <a:r>
              <a:rPr lang="en-US" sz="2000" dirty="0">
                <a:latin typeface="Segoe UI Light" panose="020B0502040204020203" pitchFamily="34" charset="0"/>
                <a:cs typeface="Segoe UI Light" panose="020B0502040204020203" pitchFamily="34" charset="0"/>
              </a:rPr>
              <a:t> utterance show </a:t>
            </a:r>
            <a:r>
              <a:rPr lang="en-US" sz="2000" dirty="0">
                <a:solidFill>
                  <a:srgbClr val="F2C812"/>
                </a:solidFill>
                <a:latin typeface="Segoe UI Light" panose="020B0502040204020203" pitchFamily="34" charset="0"/>
                <a:cs typeface="Segoe UI Light" panose="020B0502040204020203" pitchFamily="34" charset="0"/>
              </a:rPr>
              <a:t>Power BI</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ely Publish &amp; Share</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grpSp>
        <p:nvGrpSpPr>
          <p:cNvPr id="43" name="Group 42">
            <a:extLst>
              <a:ext uri="{FF2B5EF4-FFF2-40B4-BE49-F238E27FC236}">
                <a16:creationId xmlns:a16="http://schemas.microsoft.com/office/drawing/2014/main" id="{9C8B6060-B765-46DB-B52D-750644E8397A}"/>
              </a:ext>
            </a:extLst>
          </p:cNvPr>
          <p:cNvGrpSpPr/>
          <p:nvPr/>
        </p:nvGrpSpPr>
        <p:grpSpPr>
          <a:xfrm>
            <a:off x="-263802" y="5360608"/>
            <a:ext cx="1474115" cy="1497392"/>
            <a:chOff x="-304882" y="3583735"/>
            <a:chExt cx="1397665" cy="1419734"/>
          </a:xfrm>
          <a:solidFill>
            <a:schemeClr val="bg1"/>
          </a:solidFill>
        </p:grpSpPr>
        <p:sp>
          <p:nvSpPr>
            <p:cNvPr id="44" name="Parallelogram 3">
              <a:extLst>
                <a:ext uri="{FF2B5EF4-FFF2-40B4-BE49-F238E27FC236}">
                  <a16:creationId xmlns:a16="http://schemas.microsoft.com/office/drawing/2014/main" id="{DBEB4788-8710-4646-A3C0-DE45283D3C30}"/>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5" name="Parallelogram 3">
              <a:extLst>
                <a:ext uri="{FF2B5EF4-FFF2-40B4-BE49-F238E27FC236}">
                  <a16:creationId xmlns:a16="http://schemas.microsoft.com/office/drawing/2014/main" id="{F6C41E4D-2E1D-4C06-8209-1C2DD5C95C66}"/>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6" name="Parallelogram 3">
              <a:extLst>
                <a:ext uri="{FF2B5EF4-FFF2-40B4-BE49-F238E27FC236}">
                  <a16:creationId xmlns:a16="http://schemas.microsoft.com/office/drawing/2014/main" id="{6CD2F89B-BC08-45C9-BE2F-75A591786D82}"/>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428</TotalTime>
  <Words>9975</Words>
  <Application>Microsoft Office PowerPoint</Application>
  <PresentationFormat>Widescreen</PresentationFormat>
  <Paragraphs>1158</Paragraphs>
  <Slides>174</Slides>
  <Notes>171</Notes>
  <HiddenSlides>2</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4</vt:i4>
      </vt:variant>
    </vt:vector>
  </HeadingPairs>
  <TitlesOfParts>
    <vt:vector size="192"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23</cp:revision>
  <dcterms:created xsi:type="dcterms:W3CDTF">2016-05-30T15:33:26Z</dcterms:created>
  <dcterms:modified xsi:type="dcterms:W3CDTF">2019-05-01T14:43:09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